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B4B641-06A6-6729-BA0A-4E39400B0F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A46137-4E1B-2EA1-9497-D8303389BB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A46137-4E1B-2EA1-9497-D8303389BB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16E84F-138B-F50A-89A7-8F455E8FD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8419D42-684B-E177-71BB-676321DDE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lendar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A05182F-A103-72F8-A61D-AFB2298FAFA2}"/>
              </a:ext>
            </a:extLst>
          </p:cNvPr>
          <p:cNvGrpSpPr/>
          <p:nvPr/>
        </p:nvGrpSpPr>
        <p:grpSpPr>
          <a:xfrm>
            <a:off x="442913" y="3346378"/>
            <a:ext cx="3407997" cy="657489"/>
            <a:chOff x="469900" y="3367743"/>
            <a:chExt cx="3304205" cy="657660"/>
          </a:xfrm>
        </p:grpSpPr>
        <p:sp>
          <p:nvSpPr>
            <p:cNvPr id="4" name="Google Shape;786;p19">
              <a:extLst>
                <a:ext uri="{FF2B5EF4-FFF2-40B4-BE49-F238E27FC236}">
                  <a16:creationId xmlns:a16="http://schemas.microsoft.com/office/drawing/2014/main" id="{93EFA145-5DC6-9850-56E0-DDE7BBCF1DBE}"/>
                </a:ext>
              </a:extLst>
            </p:cNvPr>
            <p:cNvSpPr/>
            <p:nvPr/>
          </p:nvSpPr>
          <p:spPr>
            <a:xfrm>
              <a:off x="469900" y="3367743"/>
              <a:ext cx="3304205" cy="657660"/>
            </a:xfrm>
            <a:prstGeom prst="round2Same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023" tIns="45499" rIns="91023" bIns="45499" anchor="ctr" anchorCtr="0">
              <a:noAutofit/>
            </a:bodyPr>
            <a:lstStyle/>
            <a:p>
              <a:pPr algn="ctr"/>
              <a:endParaRPr sz="2388" b="1" dirty="0">
                <a:solidFill>
                  <a:schemeClr val="lt1"/>
                </a:solidFill>
              </a:endParaRPr>
            </a:p>
          </p:txBody>
        </p:sp>
        <p:sp>
          <p:nvSpPr>
            <p:cNvPr id="6" name="Google Shape;789;p19">
              <a:extLst>
                <a:ext uri="{FF2B5EF4-FFF2-40B4-BE49-F238E27FC236}">
                  <a16:creationId xmlns:a16="http://schemas.microsoft.com/office/drawing/2014/main" id="{F1BD2580-2CFF-5B5D-FC08-3DD0DA0167B4}"/>
                </a:ext>
              </a:extLst>
            </p:cNvPr>
            <p:cNvSpPr txBox="1"/>
            <p:nvPr/>
          </p:nvSpPr>
          <p:spPr>
            <a:xfrm>
              <a:off x="643535" y="3455295"/>
              <a:ext cx="2582245" cy="2425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576" b="1" dirty="0">
                  <a:solidFill>
                    <a:srgbClr val="FFFFFF"/>
                  </a:solidFill>
                </a:rPr>
                <a:t>Insert Text Here </a:t>
              </a:r>
              <a:endParaRPr sz="1576" b="1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7" name="Google Shape;787;p19">
            <a:extLst>
              <a:ext uri="{FF2B5EF4-FFF2-40B4-BE49-F238E27FC236}">
                <a16:creationId xmlns:a16="http://schemas.microsoft.com/office/drawing/2014/main" id="{65542F71-4818-6E0C-1012-0DF40D60B443}"/>
              </a:ext>
            </a:extLst>
          </p:cNvPr>
          <p:cNvGraphicFramePr>
            <a:graphicFrameLocks/>
          </p:cNvGraphicFramePr>
          <p:nvPr/>
        </p:nvGraphicFramePr>
        <p:xfrm>
          <a:off x="442914" y="3787039"/>
          <a:ext cx="11442697" cy="2239777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634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3467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8017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Sun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Mon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Tue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Wed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Thu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Fri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Sat</a:t>
                      </a:r>
                      <a:endParaRPr sz="1600" b="0" u="none" strike="noStrike" cap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35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35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35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835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835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xx</a:t>
                      </a:r>
                      <a:endParaRPr sz="1600" b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48" marR="91048" marT="45524" marB="45524" anchor="ctr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1" name="Graphic 60" descr="Flip calendar with solid fill">
            <a:extLst>
              <a:ext uri="{FF2B5EF4-FFF2-40B4-BE49-F238E27FC236}">
                <a16:creationId xmlns:a16="http://schemas.microsoft.com/office/drawing/2014/main" id="{6DA2ED5C-6733-3229-7E52-6E2932D74C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26586" y="831184"/>
            <a:ext cx="2819400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41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46</Words>
  <Application>Microsoft Office PowerPoint</Application>
  <PresentationFormat>Widescreen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alendar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5</cp:revision>
  <dcterms:created xsi:type="dcterms:W3CDTF">2021-03-31T02:49:57Z</dcterms:created>
  <dcterms:modified xsi:type="dcterms:W3CDTF">2025-10-16T11:06:22Z</dcterms:modified>
  <cp:category/>
</cp:coreProperties>
</file>